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6"/>
  </p:notesMasterIdLst>
  <p:sldIdLst>
    <p:sldId id="256" r:id="rId2"/>
    <p:sldId id="258" r:id="rId3"/>
    <p:sldId id="259" r:id="rId4"/>
    <p:sldId id="257" r:id="rId5"/>
  </p:sldIdLst>
  <p:sldSz cx="12192000" cy="6858000"/>
  <p:notesSz cx="6858000" cy="9144000"/>
  <p:custDataLst>
    <p:tags r:id="rId7"/>
  </p:custDataLst>
  <p:defaultTextStyle>
    <a:defPPr>
      <a:defRPr lang="en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37C2435-2CF6-1B9A-513D-93A91A5E8C2F}" name="Keno Buß" initials="KB" userId="S::keno.buss@uni-oldenburg.de::b5e295a2-2399-4f32-8b33-3f2c3c056525" providerId="AD"/>
  <p188:author id="{6929BCF1-4607-4249-7317-FCB3963084FB}" name="Katharina Hombach" initials="KH" userId="acd30a5d8e38661e" providerId="Windows Live"/>
  <p188:author id="{C0EA8AFB-5E4A-C43D-B832-706F6FE1394E}" name="giz0seq6w7@goetheuniversitaet.onmicrosoft.com" initials="" userId="S::giz0seq6w7@goetheuniversitaet.onmicrosoft.com::2edc14a4-c2bc-4daa-ba3e-9853c096bd33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F1AEE"/>
    <a:srgbClr val="D7D7D7"/>
    <a:srgbClr val="B0B0B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5BE263C-DBD7-4A20-BB59-AAB30ACAA65A}" styleName="Mittlere Formatvorlage 3 - Akz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570" autoAdjust="0"/>
    <p:restoredTop sz="86849" autoAdjust="0"/>
  </p:normalViewPr>
  <p:slideViewPr>
    <p:cSldViewPr snapToGrid="0">
      <p:cViewPr varScale="1">
        <p:scale>
          <a:sx n="74" d="100"/>
          <a:sy n="74" d="100"/>
        </p:scale>
        <p:origin x="621" y="30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789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17" Type="http://schemas.microsoft.com/office/2018/10/relationships/authors" Target="author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657E684-27F3-43CE-90E2-DEDBD83BB0C6}" type="datetimeFigureOut">
              <a:rPr lang="en-DE" smtClean="0"/>
              <a:t>07/09/2024</a:t>
            </a:fld>
            <a:endParaRPr lang="en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AA40C62-D941-47EB-BA3C-4332E0E9F852}" type="slidenum">
              <a:rPr lang="en-DE" smtClean="0"/>
              <a:t>‹Nr.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3749769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 descr="Ein Bild, das Wolke, Himmel, draußen, Architektur enthält.&#10;&#10;Automatisch generierte Beschreibung">
            <a:extLst>
              <a:ext uri="{FF2B5EF4-FFF2-40B4-BE49-F238E27FC236}">
                <a16:creationId xmlns:a16="http://schemas.microsoft.com/office/drawing/2014/main" id="{4F1015F7-95A8-555A-F506-6EEEB9289D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38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689" t="23127" r="8862" b="5734"/>
          <a:stretch/>
        </p:blipFill>
        <p:spPr>
          <a:xfrm>
            <a:off x="-3175" y="-11430"/>
            <a:ext cx="12207875" cy="687260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3FFBA55-497D-5397-8761-85F32D72688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-183765"/>
            <a:ext cx="9144000" cy="2387600"/>
          </a:xfrm>
        </p:spPr>
        <p:txBody>
          <a:bodyPr anchor="b"/>
          <a:lstStyle>
            <a:lvl1pPr algn="ctr">
              <a:defRPr sz="6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419A9BD-9D69-DF0C-B859-9BDDC12AB5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2203835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DE" dirty="0"/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7A9728B5-2AEF-EF18-9A2C-9BD1627D1E5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12345" y="6393446"/>
            <a:ext cx="60131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7C07D266-69B8-4ABE-B246-AB631903716A}" type="slidenum">
              <a:rPr lang="en-DE" smtClean="0"/>
              <a:pPr/>
              <a:t>‹Nr.›</a:t>
            </a:fld>
            <a:endParaRPr lang="en-DE" dirty="0"/>
          </a:p>
        </p:txBody>
      </p:sp>
      <p:sp>
        <p:nvSpPr>
          <p:cNvPr id="22" name="TextBox 11">
            <a:extLst>
              <a:ext uri="{FF2B5EF4-FFF2-40B4-BE49-F238E27FC236}">
                <a16:creationId xmlns:a16="http://schemas.microsoft.com/office/drawing/2014/main" id="{C1AC22AC-342B-D258-E60B-9C9CBBB9E28F}"/>
              </a:ext>
            </a:extLst>
          </p:cNvPr>
          <p:cNvSpPr txBox="1"/>
          <p:nvPr userDrawn="1"/>
        </p:nvSpPr>
        <p:spPr>
          <a:xfrm>
            <a:off x="1438746" y="6430777"/>
            <a:ext cx="99242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</a:rPr>
              <a:t>© Prof. Dr. Katharina Hombach </a:t>
            </a:r>
            <a:r>
              <a:rPr lang="de-DE" sz="1200" noProof="0" dirty="0" smtClean="0">
                <a:latin typeface="Arial" panose="020B0604020202020204" pitchFamily="34" charset="0"/>
                <a:cs typeface="Arial" panose="020B0604020202020204" pitchFamily="34" charset="0"/>
              </a:rPr>
              <a:t>2024. </a:t>
            </a:r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</a:rPr>
              <a:t>Bitte nicht kopieren oder verbreiten. </a:t>
            </a:r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8DF777F0-1A13-844F-8729-3E96E20C2D4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548640" y="6306278"/>
            <a:ext cx="842971" cy="459316"/>
          </a:xfrm>
          <a:prstGeom prst="rect">
            <a:avLst/>
          </a:prstGeom>
        </p:spPr>
      </p:pic>
      <p:sp>
        <p:nvSpPr>
          <p:cNvPr id="4" name="Textfeld 3"/>
          <p:cNvSpPr txBox="1"/>
          <p:nvPr userDrawn="1"/>
        </p:nvSpPr>
        <p:spPr>
          <a:xfrm>
            <a:off x="6029739" y="5962559"/>
            <a:ext cx="61976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100" noProof="0" dirty="0">
                <a:solidFill>
                  <a:schemeClr val="tx1">
                    <a:alpha val="23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to: Thomas Müller Ivan Reimann</a:t>
            </a:r>
          </a:p>
          <a:p>
            <a:pPr algn="r"/>
            <a:endParaRPr lang="de-DE" sz="1100" dirty="0">
              <a:solidFill>
                <a:schemeClr val="tx1">
                  <a:alpha val="23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77603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27ECED-323A-4C02-BFE6-3E2A2C8BB5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8640" y="365125"/>
            <a:ext cx="11139777" cy="923317"/>
          </a:xfrm>
        </p:spPr>
        <p:txBody>
          <a:bodyPr>
            <a:normAutofit/>
          </a:bodyPr>
          <a:lstStyle>
            <a:lvl1pPr>
              <a:defRPr sz="2800" b="1"/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r>
              <a:rPr lang="en-US" dirty="0"/>
              <a:t>Click to edit Master title style</a:t>
            </a:r>
            <a:endParaRPr lang="en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1B4B4B-4101-F065-5861-36839300BDF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8640" y="1361440"/>
            <a:ext cx="11139777" cy="4888285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F3B0BE78-A139-BFC4-B269-83491949B36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548640" y="6306278"/>
            <a:ext cx="842971" cy="459316"/>
          </a:xfrm>
          <a:prstGeom prst="rect">
            <a:avLst/>
          </a:prstGeom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6C34E866-8A8B-F4BE-A9FC-FEC6A7B8A7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12345" y="6393446"/>
            <a:ext cx="60131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7C07D266-69B8-4ABE-B246-AB631903716A}" type="slidenum">
              <a:rPr lang="en-DE" smtClean="0"/>
              <a:pPr/>
              <a:t>‹Nr.›</a:t>
            </a:fld>
            <a:endParaRPr lang="en-DE" dirty="0"/>
          </a:p>
        </p:txBody>
      </p:sp>
      <p:sp>
        <p:nvSpPr>
          <p:cNvPr id="14" name="TextBox 11">
            <a:extLst>
              <a:ext uri="{FF2B5EF4-FFF2-40B4-BE49-F238E27FC236}">
                <a16:creationId xmlns:a16="http://schemas.microsoft.com/office/drawing/2014/main" id="{C08D1B24-2F39-5808-0B67-B61483233D43}"/>
              </a:ext>
            </a:extLst>
          </p:cNvPr>
          <p:cNvSpPr txBox="1"/>
          <p:nvPr userDrawn="1"/>
        </p:nvSpPr>
        <p:spPr>
          <a:xfrm>
            <a:off x="1438746" y="6430777"/>
            <a:ext cx="984371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</a:rPr>
              <a:t>© Prof. Dr. Katharina Hombach </a:t>
            </a:r>
            <a:r>
              <a:rPr lang="de-DE" sz="1200" noProof="0" dirty="0" smtClean="0">
                <a:latin typeface="Arial" panose="020B0604020202020204" pitchFamily="34" charset="0"/>
                <a:cs typeface="Arial" panose="020B0604020202020204" pitchFamily="34" charset="0"/>
              </a:rPr>
              <a:t>2024. </a:t>
            </a:r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</a:rPr>
              <a:t>Bitte nicht kopieren oder verbreiten.</a:t>
            </a:r>
          </a:p>
        </p:txBody>
      </p:sp>
    </p:spTree>
    <p:extLst>
      <p:ext uri="{BB962C8B-B14F-4D97-AF65-F5344CB8AC3E}">
        <p14:creationId xmlns:p14="http://schemas.microsoft.com/office/powerpoint/2010/main" val="26785496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083BE15C-1FC9-8DCD-ECB9-7138DB8B97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36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l="66146" t="-1" r="5941" b="47943"/>
          <a:stretch/>
        </p:blipFill>
        <p:spPr>
          <a:xfrm>
            <a:off x="6798761" y="1361440"/>
            <a:ext cx="5399589" cy="5487035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971A9DBF-AAEA-962C-1B8C-7104CA58D39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548640" y="6306278"/>
            <a:ext cx="842971" cy="459316"/>
          </a:xfrm>
          <a:prstGeom prst="rect">
            <a:avLst/>
          </a:prstGeom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5EB138C3-F7CB-87A3-7B31-4669D5E2C04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12345" y="6393446"/>
            <a:ext cx="60131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7C07D266-69B8-4ABE-B246-AB631903716A}" type="slidenum">
              <a:rPr lang="en-DE" smtClean="0"/>
              <a:pPr/>
              <a:t>‹Nr.›</a:t>
            </a:fld>
            <a:endParaRPr lang="en-DE" dirty="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E56AA056-0280-C56E-9590-AC5A6028B4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8640" y="365125"/>
            <a:ext cx="11139777" cy="923317"/>
          </a:xfrm>
        </p:spPr>
        <p:txBody>
          <a:bodyPr>
            <a:normAutofit/>
          </a:bodyPr>
          <a:lstStyle>
            <a:lvl1pPr>
              <a:defRPr sz="2800" b="1"/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r>
              <a:rPr lang="en-US" dirty="0"/>
              <a:t>Click to edit Master title style</a:t>
            </a:r>
            <a:endParaRPr lang="en-DE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B14346F5-7E0A-4B91-9588-7217439FDAB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8640" y="1361440"/>
            <a:ext cx="11139777" cy="4888285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DE" dirty="0"/>
          </a:p>
        </p:txBody>
      </p:sp>
      <p:sp>
        <p:nvSpPr>
          <p:cNvPr id="19" name="TextBox 11">
            <a:extLst>
              <a:ext uri="{FF2B5EF4-FFF2-40B4-BE49-F238E27FC236}">
                <a16:creationId xmlns:a16="http://schemas.microsoft.com/office/drawing/2014/main" id="{E398CFE9-E91E-5999-BB9C-11865BE77F0F}"/>
              </a:ext>
            </a:extLst>
          </p:cNvPr>
          <p:cNvSpPr txBox="1"/>
          <p:nvPr userDrawn="1"/>
        </p:nvSpPr>
        <p:spPr>
          <a:xfrm>
            <a:off x="1438746" y="6430777"/>
            <a:ext cx="984371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</a:rPr>
              <a:t>© Prof. Dr. Katharina Hombach </a:t>
            </a:r>
            <a:r>
              <a:rPr lang="de-DE" sz="1200" noProof="0" dirty="0" smtClean="0">
                <a:latin typeface="Arial" panose="020B0604020202020204" pitchFamily="34" charset="0"/>
                <a:cs typeface="Arial" panose="020B0604020202020204" pitchFamily="34" charset="0"/>
              </a:rPr>
              <a:t>2024. </a:t>
            </a:r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</a:rPr>
              <a:t>Bitte nicht kopieren oder verbreiten.</a:t>
            </a:r>
          </a:p>
        </p:txBody>
      </p:sp>
    </p:spTree>
    <p:extLst>
      <p:ext uri="{BB962C8B-B14F-4D97-AF65-F5344CB8AC3E}">
        <p14:creationId xmlns:p14="http://schemas.microsoft.com/office/powerpoint/2010/main" val="41857185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D1C081DB-2049-520A-8ADC-9845823D97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380739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Folie" r:id="rId7" imgW="501" imgH="500" progId="TCLayout.ActiveDocument.1">
                  <p:embed/>
                </p:oleObj>
              </mc:Choice>
              <mc:Fallback>
                <p:oleObj name="think-cell Folie" r:id="rId7" imgW="501" imgH="5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9AC742-66E8-D30F-7E2D-B0B04DB3D8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850" y="365125"/>
            <a:ext cx="11557000" cy="7588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31CBDDE-1FBB-95DB-CE65-3133EF5AB45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3850" y="1200150"/>
            <a:ext cx="11557000" cy="497681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endParaRPr lang="en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0FDCE05-11A8-1A00-1881-8133B537F8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3850" y="6356350"/>
            <a:ext cx="1070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4493B44-C094-F468-0AE0-6C2DE79C04D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99800" y="6356350"/>
            <a:ext cx="7810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C07D266-69B8-4ABE-B246-AB631903716A}" type="slidenum">
              <a:rPr lang="en-DE" smtClean="0"/>
              <a:pPr/>
              <a:t>‹Nr.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568087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61950" indent="-361950" algn="l" defTabSz="914400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806450" indent="-355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‒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None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96B0B03-CFAD-7454-5908-24736D46810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24537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Folie" r:id="rId4" imgW="501" imgH="500" progId="TCLayout.ActiveDocument.1">
                  <p:embed/>
                </p:oleObj>
              </mc:Choice>
              <mc:Fallback>
                <p:oleObj name="think-cell Folie" r:id="rId4" imgW="501" imgH="5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F02F995-73EA-C6E2-1A83-C6342C14268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356871C-8732-9640-B038-58875106D29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8B06C4E-2CBC-6749-BE0E-2675704B10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C07D266-69B8-4ABE-B246-AB631903716A}" type="slidenum">
              <a:rPr lang="en-DE" smtClean="0"/>
              <a:pPr/>
              <a:t>1</a:t>
            </a:fld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125203599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C07D266-69B8-4ABE-B246-AB631903716A}" type="slidenum">
              <a:rPr lang="en-DE" smtClean="0"/>
              <a:pPr/>
              <a:t>2</a:t>
            </a:fld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280761995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C07D266-69B8-4ABE-B246-AB631903716A}" type="slidenum">
              <a:rPr lang="en-DE" smtClean="0"/>
              <a:pPr/>
              <a:t>3</a:t>
            </a:fld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21235550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43B93F7-6791-F992-61D7-8B7EC72D4D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C07D266-69B8-4ABE-B246-AB631903716A}" type="slidenum">
              <a:rPr lang="en-DE" smtClean="0"/>
              <a:pPr/>
              <a:t>4</a:t>
            </a:fld>
            <a:endParaRPr lang="en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C65100BB-304A-6528-02EA-F170483362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9FFFBE1-7F60-2BA6-088D-752B63F7F11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547699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1F1AEE"/>
      </a:accent1>
      <a:accent2>
        <a:srgbClr val="7B7B7B"/>
      </a:accent2>
      <a:accent3>
        <a:srgbClr val="FF000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Lecture_slides" id="{781EE4D9-3795-4FB5-9DBF-A6C19A13367E}" vid="{D06A6356-0391-48FF-88D3-4FDF47BC61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Lecture_slides</Template>
  <TotalTime>0</TotalTime>
  <Words>4</Words>
  <Application>Microsoft Office PowerPoint</Application>
  <PresentationFormat>Breitbild</PresentationFormat>
  <Paragraphs>4</Paragraphs>
  <Slides>4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</vt:i4>
      </vt:variant>
    </vt:vector>
  </HeadingPairs>
  <TitlesOfParts>
    <vt:vector size="9" baseType="lpstr">
      <vt:lpstr>Arial</vt:lpstr>
      <vt:lpstr>Calibri</vt:lpstr>
      <vt:lpstr>Wingdings</vt:lpstr>
      <vt:lpstr>Office Theme</vt:lpstr>
      <vt:lpstr>think-cell Folie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ACC WiSe 2023/24</dc:title>
  <dc:creator>Katharina Hombach</dc:creator>
  <cp:lastModifiedBy>Meringdal, Inga Elise</cp:lastModifiedBy>
  <cp:revision>209</cp:revision>
  <dcterms:created xsi:type="dcterms:W3CDTF">2023-07-12T12:37:29Z</dcterms:created>
  <dcterms:modified xsi:type="dcterms:W3CDTF">2024-07-09T12:32:31Z</dcterms:modified>
</cp:coreProperties>
</file>